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76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03" autoAdjust="0"/>
    <p:restoredTop sz="94660"/>
  </p:normalViewPr>
  <p:slideViewPr>
    <p:cSldViewPr snapToGrid="0">
      <p:cViewPr varScale="1">
        <p:scale>
          <a:sx n="147" d="100"/>
          <a:sy n="147" d="100"/>
        </p:scale>
        <p:origin x="22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F226CF9-7F54-1D41-8942-C73691FE9B46}"/>
              </a:ext>
            </a:extLst>
          </p:cNvPr>
          <p:cNvGrpSpPr/>
          <p:nvPr userDrawn="1"/>
        </p:nvGrpSpPr>
        <p:grpSpPr>
          <a:xfrm>
            <a:off x="0" y="-12470"/>
            <a:ext cx="10082254" cy="6882940"/>
            <a:chOff x="0" y="-12470"/>
            <a:chExt cx="10082254" cy="6882940"/>
          </a:xfrm>
        </p:grpSpPr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0EEF590B-0A3E-F445-BDDA-5E70C06ABAF9}"/>
                </a:ext>
              </a:extLst>
            </p:cNvPr>
            <p:cNvSpPr/>
            <p:nvPr/>
          </p:nvSpPr>
          <p:spPr>
            <a:xfrm>
              <a:off x="0" y="-12470"/>
              <a:ext cx="9964911" cy="6882940"/>
            </a:xfrm>
            <a:custGeom>
              <a:avLst/>
              <a:gdLst>
                <a:gd name="connsiteX0" fmla="*/ 0 w 7656074"/>
                <a:gd name="connsiteY0" fmla="*/ 0 h 6858000"/>
                <a:gd name="connsiteX1" fmla="*/ 7656074 w 7656074"/>
                <a:gd name="connsiteY1" fmla="*/ 0 h 6858000"/>
                <a:gd name="connsiteX2" fmla="*/ 5770748 w 7656074"/>
                <a:gd name="connsiteY2" fmla="*/ 6858000 h 6858000"/>
                <a:gd name="connsiteX3" fmla="*/ 0 w 7656074"/>
                <a:gd name="connsiteY3" fmla="*/ 6858000 h 6858000"/>
                <a:gd name="connsiteX4" fmla="*/ 0 w 7656074"/>
                <a:gd name="connsiteY4" fmla="*/ 0 h 6858000"/>
                <a:gd name="connsiteX0" fmla="*/ 0 w 9418372"/>
                <a:gd name="connsiteY0" fmla="*/ 0 h 6874626"/>
                <a:gd name="connsiteX1" fmla="*/ 9418372 w 9418372"/>
                <a:gd name="connsiteY1" fmla="*/ 16626 h 6874626"/>
                <a:gd name="connsiteX2" fmla="*/ 7533046 w 9418372"/>
                <a:gd name="connsiteY2" fmla="*/ 6874626 h 6874626"/>
                <a:gd name="connsiteX3" fmla="*/ 1762298 w 9418372"/>
                <a:gd name="connsiteY3" fmla="*/ 6874626 h 6874626"/>
                <a:gd name="connsiteX4" fmla="*/ 0 w 9418372"/>
                <a:gd name="connsiteY4" fmla="*/ 0 h 6874626"/>
                <a:gd name="connsiteX0" fmla="*/ 1 w 9418373"/>
                <a:gd name="connsiteY0" fmla="*/ 0 h 6882939"/>
                <a:gd name="connsiteX1" fmla="*/ 9418373 w 9418373"/>
                <a:gd name="connsiteY1" fmla="*/ 16626 h 6882939"/>
                <a:gd name="connsiteX2" fmla="*/ 7533047 w 9418373"/>
                <a:gd name="connsiteY2" fmla="*/ 6874626 h 6882939"/>
                <a:gd name="connsiteX3" fmla="*/ 0 w 9418373"/>
                <a:gd name="connsiteY3" fmla="*/ 6882939 h 6882939"/>
                <a:gd name="connsiteX4" fmla="*/ 1 w 9418373"/>
                <a:gd name="connsiteY4" fmla="*/ 0 h 688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18373" h="6882939">
                  <a:moveTo>
                    <a:pt x="1" y="0"/>
                  </a:moveTo>
                  <a:lnTo>
                    <a:pt x="9418373" y="16626"/>
                  </a:lnTo>
                  <a:lnTo>
                    <a:pt x="7533047" y="6874626"/>
                  </a:lnTo>
                  <a:lnTo>
                    <a:pt x="0" y="6882939"/>
                  </a:lnTo>
                  <a:cubicBezTo>
                    <a:pt x="0" y="4588626"/>
                    <a:pt x="1" y="2294313"/>
                    <a:pt x="1" y="0"/>
                  </a:cubicBezTo>
                  <a:close/>
                </a:path>
              </a:pathLst>
            </a:custGeom>
            <a:solidFill>
              <a:srgbClr val="435469">
                <a:lumMod val="20000"/>
                <a:lumOff val="80000"/>
                <a:alpha val="43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rIns="91440" rtlCol="0" anchor="ctr">
              <a:no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4354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E9B08F6-31D3-A44E-9256-EC67A8343A3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92037" y="-12470"/>
              <a:ext cx="1990217" cy="6874627"/>
            </a:xfrm>
            <a:prstGeom prst="line">
              <a:avLst/>
            </a:prstGeom>
            <a:noFill/>
            <a:ln w="9525" cap="flat" cmpd="sng" algn="ctr">
              <a:solidFill>
                <a:srgbClr val="435469">
                  <a:lumMod val="20000"/>
                  <a:lumOff val="80000"/>
                  <a:alpha val="30000"/>
                </a:srgbClr>
              </a:solidFill>
              <a:prstDash val="solid"/>
            </a:ln>
            <a:effectLst/>
          </p:spPr>
        </p:cxnSp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C0A2C331-09C0-8C43-9A46-4815614E21B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77839" y="1274234"/>
            <a:ext cx="7599386" cy="1655762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defRPr sz="4600" b="1" cap="all" spc="-40" baseline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GB"/>
              <a:t>Click to edit title style can be two lines</a:t>
            </a:r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5ADB66DB-8A09-5E4E-9912-D530D44E723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09613" y="4249135"/>
            <a:ext cx="3786187" cy="26987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>
                  <a:lumMod val="40000"/>
                  <a:lumOff val="60000"/>
                </a:schemeClr>
              </a:buClr>
              <a:buSzPct val="110000"/>
              <a:buFont typeface="Wingdings" pitchFamily="2" charset="2"/>
              <a:buNone/>
              <a:defRPr lang="en-US" sz="1200" kern="1200" dirty="0" smtClean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[Month 00, YYYY]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71DEB13-8472-0548-8B82-120B188E6A96}"/>
              </a:ext>
            </a:extLst>
          </p:cNvPr>
          <p:cNvSpPr txBox="1"/>
          <p:nvPr userDrawn="1"/>
        </p:nvSpPr>
        <p:spPr>
          <a:xfrm>
            <a:off x="708835" y="6332846"/>
            <a:ext cx="1602764" cy="1825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SzPct val="110000"/>
              <a:buFont typeface="Wingdings" pitchFamily="2" charset="2"/>
              <a:buNone/>
            </a:pPr>
            <a:r>
              <a:rPr lang="en-US" sz="900">
                <a:solidFill>
                  <a:schemeClr val="accent2">
                    <a:lumMod val="75000"/>
                  </a:schemeClr>
                </a:solidFill>
              </a:rPr>
              <a:t>Confidential &amp; proprietary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064D3AA-42C0-9B4C-8084-AD0D97CBDB45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08835" y="3061677"/>
            <a:ext cx="7568390" cy="703495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a subtitle in this box; the subtitle can consist of two lines and wrap to a second line as you can see in this example</a:t>
            </a:r>
            <a:endParaRPr lang="en-US"/>
          </a:p>
        </p:txBody>
      </p: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EF44E3B-5853-C648-A6E8-C66CFDD234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03636" y="6228295"/>
            <a:ext cx="1147448" cy="28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119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  <p15:guide id="2" orient="horz" pos="405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6C33FD-CDDB-CF49-88EA-76C80302F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025" y="537123"/>
            <a:ext cx="11282240" cy="56303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running header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46E23-1223-EE4D-8675-E6F9B9B273B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921" y="2372140"/>
            <a:ext cx="3280776" cy="3336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sz="1400" dirty="0"/>
            </a:lvl1pPr>
            <a:lvl2pPr>
              <a:defRPr lang="en-GB" sz="1200" dirty="0"/>
            </a:lvl2pPr>
            <a:lvl3pPr>
              <a:defRPr lang="en-GB" sz="1100" dirty="0"/>
            </a:lvl3pPr>
            <a:lvl4pPr>
              <a:defRPr lang="en-GB" sz="1050" dirty="0"/>
            </a:lvl4pPr>
            <a:lvl5pPr>
              <a:defRPr lang="en-US" sz="1000" dirty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9A8DE14-241B-EC43-A4DA-FA746166130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453756" y="2372140"/>
            <a:ext cx="3280776" cy="3336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sz="1400"/>
            </a:lvl1pPr>
            <a:lvl2pPr>
              <a:defRPr lang="en-GB" sz="1200"/>
            </a:lvl2pPr>
            <a:lvl3pPr>
              <a:defRPr lang="en-GB" sz="1100"/>
            </a:lvl3pPr>
            <a:lvl4pPr>
              <a:defRPr lang="en-GB" sz="1050"/>
            </a:lvl4pPr>
            <a:lvl5pPr>
              <a:defRPr lang="en-US"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3A22D55-66F4-224B-A7F4-A893EBEB2829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454489" y="2372140"/>
            <a:ext cx="3280776" cy="3336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sz="1400"/>
            </a:lvl1pPr>
            <a:lvl2pPr>
              <a:defRPr lang="en-GB" sz="1200"/>
            </a:lvl2pPr>
            <a:lvl3pPr>
              <a:defRPr lang="en-GB" sz="1100"/>
            </a:lvl3pPr>
            <a:lvl4pPr>
              <a:defRPr lang="en-GB" sz="1050"/>
            </a:lvl4pPr>
            <a:lvl5pPr>
              <a:defRPr lang="en-US"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ECF6611-CCEF-D647-B797-3F52351F8F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3026" y="1341437"/>
            <a:ext cx="3280776" cy="84517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 </a:t>
            </a:r>
            <a:endParaRPr lang="en-US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34878D13-9879-424E-BD83-E7A5011558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53756" y="1341437"/>
            <a:ext cx="3280776" cy="84517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 </a:t>
            </a:r>
            <a:endParaRPr lang="en-US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06AD6C7-932B-394E-BFA1-D516789EF8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54489" y="1341437"/>
            <a:ext cx="3280776" cy="84517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 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02DB0CF-B065-A74E-A737-88A02CE2A1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3024" y="232009"/>
            <a:ext cx="11282239" cy="2032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slide title</a:t>
            </a:r>
            <a:endParaRPr lang="en-US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631A2B86-7F9A-524C-B347-97F000EE81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3024" y="6374798"/>
            <a:ext cx="965961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360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35">
          <p15:clr>
            <a:srgbClr val="FBAE40"/>
          </p15:clr>
        </p15:guide>
        <p15:guide id="2" pos="2354">
          <p15:clr>
            <a:srgbClr val="FBAE40"/>
          </p15:clr>
        </p15:guide>
        <p15:guide id="3" pos="279">
          <p15:clr>
            <a:srgbClr val="FBAE40"/>
          </p15:clr>
        </p15:guide>
        <p15:guide id="4" pos="2797">
          <p15:clr>
            <a:srgbClr val="FBAE40"/>
          </p15:clr>
        </p15:guide>
        <p15:guide id="5" pos="4875">
          <p15:clr>
            <a:srgbClr val="FBAE40"/>
          </p15:clr>
        </p15:guide>
        <p15:guide id="6" pos="5309">
          <p15:clr>
            <a:srgbClr val="FBAE40"/>
          </p15:clr>
        </p15:guide>
        <p15:guide id="7" pos="7396">
          <p15:clr>
            <a:srgbClr val="FBAE40"/>
          </p15:clr>
        </p15:guide>
        <p15:guide id="8" orient="horz" pos="1377">
          <p15:clr>
            <a:srgbClr val="FBAE40"/>
          </p15:clr>
        </p15:guide>
        <p15:guide id="9" orient="horz" pos="1486">
          <p15:clr>
            <a:srgbClr val="FBAE40"/>
          </p15:clr>
        </p15:guide>
        <p15:guide id="10" orient="horz" pos="3598">
          <p15:clr>
            <a:srgbClr val="FBAE40"/>
          </p15:clr>
        </p15:guide>
        <p15:guide id="11" orient="horz" pos="3861">
          <p15:clr>
            <a:srgbClr val="FBAE40"/>
          </p15:clr>
        </p15:guide>
        <p15:guide id="12" orient="horz" pos="41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6C33FD-CDDB-CF49-88EA-76C80302F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025" y="537123"/>
            <a:ext cx="11282240" cy="56303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running header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46E23-1223-EE4D-8675-E6F9B9B273B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3026" y="2372137"/>
            <a:ext cx="2581811" cy="33364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sz="1400" dirty="0"/>
            </a:lvl1pPr>
            <a:lvl2pPr>
              <a:defRPr lang="en-GB" sz="1200" dirty="0"/>
            </a:lvl2pPr>
            <a:lvl3pPr>
              <a:defRPr lang="en-GB" sz="1100" dirty="0"/>
            </a:lvl3pPr>
            <a:lvl4pPr>
              <a:defRPr lang="en-GB" sz="1050" dirty="0"/>
            </a:lvl4pPr>
            <a:lvl5pPr>
              <a:defRPr lang="en-US" sz="1000" dirty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9A8DE14-241B-EC43-A4DA-FA746166130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53167" y="2372137"/>
            <a:ext cx="2581811" cy="33364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200" dirty="0" smtClean="0"/>
            </a:lvl2pPr>
            <a:lvl3pPr>
              <a:defRPr lang="en-GB" sz="1100" dirty="0" smtClean="0"/>
            </a:lvl3pPr>
            <a:lvl4pPr>
              <a:defRPr lang="en-GB" sz="1050" dirty="0" smtClean="0"/>
            </a:lvl4pPr>
            <a:lvl5pPr>
              <a:defRPr lang="en-US" sz="1000" dirty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3A22D55-66F4-224B-A7F4-A893EBEB2829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253310" y="2372137"/>
            <a:ext cx="2581811" cy="33364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sz="1400" dirty="0" smtClean="0"/>
            </a:lvl1pPr>
            <a:lvl2pPr>
              <a:defRPr lang="en-GB" sz="1200" dirty="0" smtClean="0"/>
            </a:lvl2pPr>
            <a:lvl3pPr>
              <a:defRPr lang="en-GB" sz="1100" dirty="0" smtClean="0"/>
            </a:lvl3pPr>
            <a:lvl4pPr>
              <a:defRPr lang="en-GB" sz="1050" dirty="0" smtClean="0"/>
            </a:lvl4pPr>
            <a:lvl5pPr>
              <a:defRPr lang="en-US" sz="1000" dirty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00334F7-4FA8-AC4C-8533-DA4E55F77BA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153454" y="2372137"/>
            <a:ext cx="2581811" cy="33364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sz="1400"/>
            </a:lvl1pPr>
            <a:lvl2pPr>
              <a:defRPr lang="en-GB" sz="1200" dirty="0"/>
            </a:lvl2pPr>
            <a:lvl3pPr>
              <a:defRPr lang="en-GB" sz="1100" dirty="0"/>
            </a:lvl3pPr>
            <a:lvl4pPr>
              <a:defRPr lang="en-GB" sz="1050" dirty="0"/>
            </a:lvl4pPr>
            <a:lvl5pPr>
              <a:defRPr lang="en-US" sz="1000" dirty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4C277A6-4AD1-CA4A-ABEF-E46EF03AA6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3026" y="1341437"/>
            <a:ext cx="2594974" cy="84517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233F844-B80B-7544-896A-8E19A0B09BD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53167" y="1341437"/>
            <a:ext cx="2594974" cy="84517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C983E58-A86B-534C-8328-464D22396E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153454" y="1341437"/>
            <a:ext cx="2594974" cy="84517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84C8586-D413-1E48-8D25-A00D436E70B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53310" y="1341437"/>
            <a:ext cx="2594974" cy="84517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F64FB401-09DE-8843-A154-3CCE52492A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3024" y="232009"/>
            <a:ext cx="11282239" cy="2032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slide title</a:t>
            </a:r>
            <a:endParaRPr lang="en-US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44E13FF7-7758-4C4E-B83C-0C883C9B7D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3024" y="6374798"/>
            <a:ext cx="965961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279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96">
          <p15:clr>
            <a:srgbClr val="FBAE40"/>
          </p15:clr>
        </p15:guide>
        <p15:guide id="2" orient="horz" pos="685">
          <p15:clr>
            <a:srgbClr val="FBAE40"/>
          </p15:clr>
        </p15:guide>
        <p15:guide id="3" pos="279">
          <p15:clr>
            <a:srgbClr val="FBAE40"/>
          </p15:clr>
        </p15:guide>
        <p15:guide id="4" pos="1920">
          <p15:clr>
            <a:srgbClr val="FBAE40"/>
          </p15:clr>
        </p15:guide>
        <p15:guide id="5" pos="3740">
          <p15:clr>
            <a:srgbClr val="FBAE40"/>
          </p15:clr>
        </p15:guide>
        <p15:guide id="6" pos="5564">
          <p15:clr>
            <a:srgbClr val="FBAE40"/>
          </p15:clr>
        </p15:guide>
        <p15:guide id="7" pos="5752">
          <p15:clr>
            <a:srgbClr val="FBAE40"/>
          </p15:clr>
        </p15:guide>
        <p15:guide id="8" pos="3923">
          <p15:clr>
            <a:srgbClr val="FBAE40"/>
          </p15:clr>
        </p15:guide>
        <p15:guide id="9" pos="2104">
          <p15:clr>
            <a:srgbClr val="FBAE40"/>
          </p15:clr>
        </p15:guide>
        <p15:guide id="10" orient="horz" pos="845">
          <p15:clr>
            <a:srgbClr val="FBAE40"/>
          </p15:clr>
        </p15:guide>
        <p15:guide id="11" orient="horz" pos="3598">
          <p15:clr>
            <a:srgbClr val="FBAE40"/>
          </p15:clr>
        </p15:guide>
        <p15:guide id="12" orient="horz" pos="3861">
          <p15:clr>
            <a:srgbClr val="FBAE40"/>
          </p15:clr>
        </p15:guide>
        <p15:guide id="13" orient="horz" pos="41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BADCB42C-785E-9B49-AAA4-7DC38924BEE4}"/>
              </a:ext>
            </a:extLst>
          </p:cNvPr>
          <p:cNvSpPr/>
          <p:nvPr userDrawn="1"/>
        </p:nvSpPr>
        <p:spPr>
          <a:xfrm flipH="1">
            <a:off x="0" y="784812"/>
            <a:ext cx="2093495" cy="256032"/>
          </a:xfrm>
          <a:custGeom>
            <a:avLst/>
            <a:gdLst>
              <a:gd name="connsiteX0" fmla="*/ 0 w 7161451"/>
              <a:gd name="connsiteY0" fmla="*/ 0 h 428878"/>
              <a:gd name="connsiteX1" fmla="*/ 0 w 7161451"/>
              <a:gd name="connsiteY1" fmla="*/ 428878 h 428878"/>
              <a:gd name="connsiteX2" fmla="*/ 7161451 w 7161451"/>
              <a:gd name="connsiteY2" fmla="*/ 428878 h 428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61451" h="428878">
                <a:moveTo>
                  <a:pt x="0" y="0"/>
                </a:moveTo>
                <a:lnTo>
                  <a:pt x="0" y="428878"/>
                </a:lnTo>
                <a:lnTo>
                  <a:pt x="7161451" y="428878"/>
                </a:lnTo>
              </a:path>
            </a:pathLst>
          </a:custGeom>
          <a:noFill/>
          <a:ln w="6350" cap="flat" cmpd="sng" algn="ctr">
            <a:solidFill>
              <a:srgbClr val="A656B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0706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46E23-1223-EE4D-8675-E6F9B9B273B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05802" y="1618547"/>
            <a:ext cx="4890198" cy="4222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2A3441">
                  <a:lumMod val="40000"/>
                  <a:lumOff val="60000"/>
                </a:srgbClr>
              </a:buClr>
              <a:buSzPct val="110000"/>
              <a:buFont typeface="Wingdings" pitchFamily="2" charset="2"/>
              <a:buChar char="§"/>
              <a:tabLst/>
              <a:defRPr lang="en-GB" sz="1400"/>
            </a:lvl1pPr>
            <a:lvl2pPr marL="460375" marR="0" indent="-230188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2A3441">
                  <a:lumMod val="40000"/>
                  <a:lumOff val="60000"/>
                </a:srgbClr>
              </a:buClr>
              <a:buSzTx/>
              <a:buFont typeface="Wingdings" pitchFamily="2" charset="2"/>
              <a:buChar char="§"/>
              <a:tabLst/>
              <a:defRPr lang="en-GB" sz="1200"/>
            </a:lvl2pPr>
            <a:lvl3pPr marL="692150" marR="0" indent="-231775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2A3441">
                  <a:lumMod val="40000"/>
                  <a:lumOff val="60000"/>
                </a:srgbClr>
              </a:buClr>
              <a:buSzTx/>
              <a:buFont typeface="Wingdings" pitchFamily="2" charset="2"/>
              <a:buChar char="§"/>
              <a:tabLst/>
              <a:defRPr lang="en-GB" sz="1100"/>
            </a:lvl3pPr>
            <a:lvl4pPr marL="914400" marR="0" indent="-206375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2A3441">
                  <a:lumMod val="40000"/>
                  <a:lumOff val="60000"/>
                </a:srgbClr>
              </a:buClr>
              <a:buSzTx/>
              <a:buFont typeface="Wingdings" pitchFamily="2" charset="2"/>
              <a:buChar char="§"/>
              <a:tabLst/>
              <a:defRPr lang="en-GB" sz="1050"/>
            </a:lvl4pPr>
            <a:lvl5pPr marL="1146175" marR="0" indent="-231775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2A3441">
                  <a:lumMod val="40000"/>
                  <a:lumOff val="60000"/>
                </a:srgbClr>
              </a:buClr>
              <a:buSzTx/>
              <a:buFont typeface="Wingdings" pitchFamily="2" charset="2"/>
              <a:buChar char="§"/>
              <a:tabLst/>
              <a:defRPr lang="en-US"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402DC8-0DB8-0546-AA22-2330E4079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558" y="812732"/>
            <a:ext cx="1911713" cy="2032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NEXT STEPs</a:t>
            </a:r>
            <a:endParaRPr lang="en-US"/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2597A1AE-5BD0-C742-9DB0-DF015212A7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6464" y="6601298"/>
            <a:ext cx="604831" cy="14759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7050463-66C8-D646-8F35-15672C18C7C3}"/>
              </a:ext>
            </a:extLst>
          </p:cNvPr>
          <p:cNvSpPr txBox="1"/>
          <p:nvPr userDrawn="1"/>
        </p:nvSpPr>
        <p:spPr>
          <a:xfrm>
            <a:off x="11353799" y="6606061"/>
            <a:ext cx="381465" cy="165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CC437E41-2C6E-1A42-B1BE-C25975A4A367}" type="slidenum">
              <a:rPr lang="en-IN" sz="800" smtClean="0"/>
              <a:pPr algn="r"/>
              <a:t>‹#›</a:t>
            </a:fld>
            <a:endParaRPr lang="en-IN" sz="80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DCB15D4-F990-3D4E-9313-28EDFF3511AC}"/>
              </a:ext>
            </a:extLst>
          </p:cNvPr>
          <p:cNvCxnSpPr>
            <a:cxnSpLocks/>
          </p:cNvCxnSpPr>
          <p:nvPr userDrawn="1"/>
        </p:nvCxnSpPr>
        <p:spPr>
          <a:xfrm>
            <a:off x="11425731" y="6580716"/>
            <a:ext cx="0" cy="164592"/>
          </a:xfrm>
          <a:prstGeom prst="line">
            <a:avLst/>
          </a:prstGeom>
          <a:ln>
            <a:solidFill>
              <a:schemeClr val="tx2">
                <a:alpha val="2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9581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010">
          <p15:clr>
            <a:srgbClr val="FBAE40"/>
          </p15:clr>
        </p15:guide>
        <p15:guide id="3" orient="horz" pos="3680">
          <p15:clr>
            <a:srgbClr val="FBAE40"/>
          </p15:clr>
        </p15:guide>
        <p15:guide id="4" pos="74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54716762-4A1B-AF4B-AA59-B57E7ECCBE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352ACD2-ADBA-D54B-A72B-BF6155CAA7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4424"/>
          <a:stretch/>
        </p:blipFill>
        <p:spPr>
          <a:xfrm>
            <a:off x="4967825" y="3147331"/>
            <a:ext cx="2208645" cy="823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3931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8197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634976"/>
            <a:ext cx="3657600" cy="228600"/>
          </a:xfrm>
          <a:prstGeom prst="rect">
            <a:avLst/>
          </a:prstGeom>
          <a:solidFill>
            <a:srgbClr val="FCE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Qral Group</a:t>
            </a:r>
            <a:endParaRPr lang="en-US" sz="900"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657600" y="6634976"/>
            <a:ext cx="8534400" cy="228600"/>
          </a:xfrm>
          <a:prstGeom prst="rect">
            <a:avLst/>
          </a:prstGeom>
          <a:solidFill>
            <a:srgbClr val="F45A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530931"/>
            <a:ext cx="12192000" cy="118872"/>
          </a:xfrm>
          <a:prstGeom prst="rect">
            <a:avLst/>
          </a:prstGeom>
          <a:solidFill>
            <a:srgbClr val="3615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0336" y="1843126"/>
            <a:ext cx="1072896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 i="0" cap="all" spc="100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[Title]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0336" y="4812787"/>
            <a:ext cx="10728960" cy="1065510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[Date]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02" y="64699"/>
            <a:ext cx="2113065" cy="658631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8671487" y="6627168"/>
            <a:ext cx="3520515" cy="230832"/>
          </a:xfrm>
          <a:prstGeom prst="rect">
            <a:avLst/>
          </a:prstGeom>
          <a:noFill/>
        </p:spPr>
        <p:txBody>
          <a:bodyPr wrap="none" rIns="91440" bIns="45720" rtlCol="0" anchor="b" anchorCtr="0">
            <a:spAutoFit/>
          </a:bodyPr>
          <a:lstStyle/>
          <a:p>
            <a:pPr marL="0" algn="r" rt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chemeClr val="tx1"/>
                </a:solidFill>
                <a:effectLst/>
              </a:rPr>
              <a:t>qralgroup.com</a:t>
            </a:r>
            <a:r>
              <a:rPr lang="en-US" sz="900" baseline="0">
                <a:solidFill>
                  <a:schemeClr val="tx1"/>
                </a:solidFill>
                <a:effectLst/>
              </a:rPr>
              <a:t>        Boston    Chicago    </a:t>
            </a:r>
            <a:r>
              <a:rPr lang="en-US" sz="900">
                <a:solidFill>
                  <a:schemeClr val="tx1"/>
                </a:solidFill>
                <a:effectLst/>
              </a:rPr>
              <a:t>New</a:t>
            </a:r>
            <a:r>
              <a:rPr lang="en-US" sz="900" baseline="0">
                <a:solidFill>
                  <a:schemeClr val="tx1"/>
                </a:solidFill>
                <a:effectLst/>
              </a:rPr>
              <a:t> York    San Francisco</a:t>
            </a:r>
            <a:endParaRPr lang="en-US" sz="900"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6426630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675120"/>
            <a:ext cx="3657600" cy="182880"/>
          </a:xfrm>
          <a:prstGeom prst="rect">
            <a:avLst/>
          </a:prstGeom>
          <a:solidFill>
            <a:srgbClr val="954F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© Qral Group</a:t>
            </a:r>
            <a:endParaRPr lang="en-US" sz="900">
              <a:solidFill>
                <a:schemeClr val="bg1">
                  <a:lumMod val="85000"/>
                </a:schemeClr>
              </a:solidFill>
              <a:effectLst/>
              <a:latin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657600" y="6675120"/>
            <a:ext cx="8534400" cy="182880"/>
          </a:xfrm>
          <a:prstGeom prst="rect">
            <a:avLst/>
          </a:prstGeom>
          <a:solidFill>
            <a:srgbClr val="954F7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1BAE3585-076A-433D-B2FD-A111DD14418E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1795"/>
            <a:ext cx="11277600" cy="63490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 flipH="1">
            <a:off x="457202" y="152295"/>
            <a:ext cx="3259547" cy="279500"/>
          </a:xfrm>
        </p:spPr>
        <p:txBody>
          <a:bodyPr wrap="none">
            <a:spAutoFit/>
          </a:bodyPr>
          <a:lstStyle>
            <a:lvl1pPr marL="0" indent="0">
              <a:buNone/>
              <a:defRPr sz="1200" b="1" cap="all" spc="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6504060"/>
            <a:ext cx="11277600" cy="353943"/>
          </a:xfrm>
        </p:spPr>
        <p:txBody>
          <a:bodyPr bIns="18288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700"/>
            </a:lvl2pPr>
            <a:lvl3pPr>
              <a:defRPr sz="600"/>
            </a:lvl3pPr>
            <a:lvl4pPr>
              <a:defRPr sz="500"/>
            </a:lvl4pPr>
            <a:lvl5pPr>
              <a:defRPr sz="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59011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782668"/>
            <a:ext cx="10728960" cy="2480794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 b="1" i="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4567028"/>
            <a:ext cx="10728960" cy="150018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675120"/>
            <a:ext cx="3657600" cy="182880"/>
          </a:xfrm>
          <a:prstGeom prst="rect">
            <a:avLst/>
          </a:prstGeom>
          <a:solidFill>
            <a:srgbClr val="954F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© Qral Group</a:t>
            </a:r>
            <a:endParaRPr lang="en-US" sz="900">
              <a:solidFill>
                <a:schemeClr val="bg1">
                  <a:lumMod val="85000"/>
                </a:schemeClr>
              </a:solidFill>
              <a:effectLst/>
              <a:latin typeface="+mn-lt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3657600" y="6675120"/>
            <a:ext cx="8534400" cy="182880"/>
          </a:xfrm>
          <a:prstGeom prst="rect">
            <a:avLst/>
          </a:prstGeom>
          <a:solidFill>
            <a:srgbClr val="954F7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1BAE3585-076A-433D-B2FD-A111DD14418E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0" y="6556248"/>
            <a:ext cx="12192000" cy="118872"/>
          </a:xfrm>
          <a:prstGeom prst="rect">
            <a:avLst/>
          </a:prstGeom>
          <a:solidFill>
            <a:srgbClr val="3615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5973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6675120"/>
            <a:ext cx="3657600" cy="182880"/>
          </a:xfrm>
          <a:prstGeom prst="rect">
            <a:avLst/>
          </a:prstGeom>
          <a:solidFill>
            <a:srgbClr val="954F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© Qral Group</a:t>
            </a:r>
            <a:endParaRPr lang="en-US" sz="900">
              <a:solidFill>
                <a:schemeClr val="bg1">
                  <a:lumMod val="85000"/>
                </a:schemeClr>
              </a:solidFill>
              <a:effectLst/>
              <a:latin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3657600" y="6675120"/>
            <a:ext cx="8534400" cy="182880"/>
          </a:xfrm>
          <a:prstGeom prst="rect">
            <a:avLst/>
          </a:prstGeom>
          <a:solidFill>
            <a:srgbClr val="954F7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1BAE3585-076A-433D-B2FD-A111DD14418E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25880"/>
            <a:ext cx="5486400" cy="484632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00" y="1325880"/>
            <a:ext cx="5486400" cy="484632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6504060"/>
            <a:ext cx="11277600" cy="353943"/>
          </a:xfrm>
        </p:spPr>
        <p:txBody>
          <a:bodyPr bIns="18288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700"/>
            </a:lvl2pPr>
            <a:lvl3pPr>
              <a:defRPr sz="600"/>
            </a:lvl3pPr>
            <a:lvl4pPr>
              <a:defRPr sz="500"/>
            </a:lvl4pPr>
            <a:lvl5pPr>
              <a:defRPr sz="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978B9A7-626C-4140-887C-E795EAE78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1795"/>
            <a:ext cx="11277600" cy="63490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F4156B3-96C7-41FC-A086-B362100D1E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flipH="1">
            <a:off x="457202" y="152295"/>
            <a:ext cx="3259547" cy="279500"/>
          </a:xfrm>
        </p:spPr>
        <p:txBody>
          <a:bodyPr wrap="none">
            <a:spAutoFit/>
          </a:bodyPr>
          <a:lstStyle>
            <a:lvl1pPr marL="0" indent="0">
              <a:buNone/>
              <a:defRPr sz="1200" b="1" cap="all" spc="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70592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6675120"/>
            <a:ext cx="3657600" cy="182880"/>
          </a:xfrm>
          <a:prstGeom prst="rect">
            <a:avLst/>
          </a:prstGeom>
          <a:solidFill>
            <a:srgbClr val="954F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>
                    <a:lumMod val="85000"/>
                  </a:schemeClr>
                </a:solidFill>
                <a:effectLst/>
                <a:latin typeface="+mn-lt"/>
                <a:ea typeface="+mn-ea"/>
                <a:cs typeface="+mn-cs"/>
              </a:rPr>
              <a:t>© Qral Group</a:t>
            </a:r>
            <a:endParaRPr lang="en-US" sz="900">
              <a:solidFill>
                <a:schemeClr val="bg1">
                  <a:lumMod val="85000"/>
                </a:schemeClr>
              </a:solidFill>
              <a:effectLst/>
              <a:latin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657600" y="6675120"/>
            <a:ext cx="8534400" cy="182880"/>
          </a:xfrm>
          <a:prstGeom prst="rect">
            <a:avLst/>
          </a:prstGeom>
          <a:solidFill>
            <a:srgbClr val="954F72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fld id="{1BAE3585-076A-433D-B2FD-A111DD14418E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6504060"/>
            <a:ext cx="11277600" cy="353943"/>
          </a:xfrm>
        </p:spPr>
        <p:txBody>
          <a:bodyPr bIns="18288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700"/>
            </a:lvl2pPr>
            <a:lvl3pPr>
              <a:defRPr sz="600"/>
            </a:lvl3pPr>
            <a:lvl4pPr>
              <a:defRPr sz="500"/>
            </a:lvl4pPr>
            <a:lvl5pPr>
              <a:defRPr sz="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E5E3C44-EC14-48A4-BE36-015B9AE609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1795"/>
            <a:ext cx="11277600" cy="634900"/>
          </a:xfrm>
          <a:prstGeom prst="rect">
            <a:avLst/>
          </a:prstGeom>
        </p:spPr>
        <p:txBody>
          <a:bodyPr anchor="t" anchorCtr="0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ACCE662-4882-4B0D-88CF-5765B20762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flipH="1">
            <a:off x="457202" y="152295"/>
            <a:ext cx="3259547" cy="279500"/>
          </a:xfrm>
        </p:spPr>
        <p:txBody>
          <a:bodyPr wrap="none">
            <a:spAutoFit/>
          </a:bodyPr>
          <a:lstStyle>
            <a:lvl1pPr marL="0" indent="0">
              <a:buNone/>
              <a:defRPr sz="1200" b="1" cap="all" spc="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92144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O-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6F858FD-B70F-7F4B-929E-5991D24A482B}"/>
              </a:ext>
            </a:extLst>
          </p:cNvPr>
          <p:cNvCxnSpPr>
            <a:cxnSpLocks/>
          </p:cNvCxnSpPr>
          <p:nvPr userDrawn="1"/>
        </p:nvCxnSpPr>
        <p:spPr>
          <a:xfrm>
            <a:off x="10268883" y="6089794"/>
            <a:ext cx="0" cy="497613"/>
          </a:xfrm>
          <a:prstGeom prst="line">
            <a:avLst/>
          </a:prstGeom>
          <a:ln>
            <a:solidFill>
              <a:schemeClr val="tx2">
                <a:alpha val="2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7625475-1299-3D43-91E2-07E5A07F9DF2}"/>
              </a:ext>
            </a:extLst>
          </p:cNvPr>
          <p:cNvGrpSpPr/>
          <p:nvPr userDrawn="1"/>
        </p:nvGrpSpPr>
        <p:grpSpPr>
          <a:xfrm>
            <a:off x="0" y="-12470"/>
            <a:ext cx="10082254" cy="6882940"/>
            <a:chOff x="0" y="-12470"/>
            <a:chExt cx="10082254" cy="6882940"/>
          </a:xfrm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A9FC8CBB-0DD7-8C42-9DDD-3BFDB7837A05}"/>
                </a:ext>
              </a:extLst>
            </p:cNvPr>
            <p:cNvSpPr/>
            <p:nvPr/>
          </p:nvSpPr>
          <p:spPr>
            <a:xfrm>
              <a:off x="0" y="-12470"/>
              <a:ext cx="9964911" cy="6882940"/>
            </a:xfrm>
            <a:custGeom>
              <a:avLst/>
              <a:gdLst>
                <a:gd name="connsiteX0" fmla="*/ 0 w 7656074"/>
                <a:gd name="connsiteY0" fmla="*/ 0 h 6858000"/>
                <a:gd name="connsiteX1" fmla="*/ 7656074 w 7656074"/>
                <a:gd name="connsiteY1" fmla="*/ 0 h 6858000"/>
                <a:gd name="connsiteX2" fmla="*/ 5770748 w 7656074"/>
                <a:gd name="connsiteY2" fmla="*/ 6858000 h 6858000"/>
                <a:gd name="connsiteX3" fmla="*/ 0 w 7656074"/>
                <a:gd name="connsiteY3" fmla="*/ 6858000 h 6858000"/>
                <a:gd name="connsiteX4" fmla="*/ 0 w 7656074"/>
                <a:gd name="connsiteY4" fmla="*/ 0 h 6858000"/>
                <a:gd name="connsiteX0" fmla="*/ 0 w 9418372"/>
                <a:gd name="connsiteY0" fmla="*/ 0 h 6874626"/>
                <a:gd name="connsiteX1" fmla="*/ 9418372 w 9418372"/>
                <a:gd name="connsiteY1" fmla="*/ 16626 h 6874626"/>
                <a:gd name="connsiteX2" fmla="*/ 7533046 w 9418372"/>
                <a:gd name="connsiteY2" fmla="*/ 6874626 h 6874626"/>
                <a:gd name="connsiteX3" fmla="*/ 1762298 w 9418372"/>
                <a:gd name="connsiteY3" fmla="*/ 6874626 h 6874626"/>
                <a:gd name="connsiteX4" fmla="*/ 0 w 9418372"/>
                <a:gd name="connsiteY4" fmla="*/ 0 h 6874626"/>
                <a:gd name="connsiteX0" fmla="*/ 1 w 9418373"/>
                <a:gd name="connsiteY0" fmla="*/ 0 h 6882939"/>
                <a:gd name="connsiteX1" fmla="*/ 9418373 w 9418373"/>
                <a:gd name="connsiteY1" fmla="*/ 16626 h 6882939"/>
                <a:gd name="connsiteX2" fmla="*/ 7533047 w 9418373"/>
                <a:gd name="connsiteY2" fmla="*/ 6874626 h 6882939"/>
                <a:gd name="connsiteX3" fmla="*/ 0 w 9418373"/>
                <a:gd name="connsiteY3" fmla="*/ 6882939 h 6882939"/>
                <a:gd name="connsiteX4" fmla="*/ 1 w 9418373"/>
                <a:gd name="connsiteY4" fmla="*/ 0 h 688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18373" h="6882939">
                  <a:moveTo>
                    <a:pt x="1" y="0"/>
                  </a:moveTo>
                  <a:lnTo>
                    <a:pt x="9418373" y="16626"/>
                  </a:lnTo>
                  <a:lnTo>
                    <a:pt x="7533047" y="6874626"/>
                  </a:lnTo>
                  <a:lnTo>
                    <a:pt x="0" y="6882939"/>
                  </a:lnTo>
                  <a:cubicBezTo>
                    <a:pt x="0" y="4588626"/>
                    <a:pt x="1" y="2294313"/>
                    <a:pt x="1" y="0"/>
                  </a:cubicBezTo>
                  <a:close/>
                </a:path>
              </a:pathLst>
            </a:custGeom>
            <a:solidFill>
              <a:srgbClr val="435469">
                <a:lumMod val="20000"/>
                <a:lumOff val="80000"/>
                <a:alpha val="43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rIns="91440" rtlCol="0" anchor="ctr">
              <a:no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43546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0E6AFF2-8870-0D45-A474-2F192F81E24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92037" y="-12470"/>
              <a:ext cx="1990217" cy="6874627"/>
            </a:xfrm>
            <a:prstGeom prst="line">
              <a:avLst/>
            </a:prstGeom>
            <a:noFill/>
            <a:ln w="9525" cap="flat" cmpd="sng" algn="ctr">
              <a:solidFill>
                <a:srgbClr val="435469">
                  <a:lumMod val="20000"/>
                  <a:lumOff val="80000"/>
                  <a:alpha val="30000"/>
                </a:srgbClr>
              </a:solidFill>
              <a:prstDash val="solid"/>
            </a:ln>
            <a:effectLst/>
          </p:spPr>
        </p:cxnSp>
      </p:grp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4C1B8F0-55E6-BD4D-88D4-5CB5F27866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03636" y="6228295"/>
            <a:ext cx="1147448" cy="288244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9DE6D9F-E871-CA41-AE79-E7094D75BE0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694933" y="6048818"/>
            <a:ext cx="1403338" cy="56548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700"/>
            </a:lvl1pPr>
          </a:lstStyle>
          <a:p>
            <a:r>
              <a:rPr lang="en-US"/>
              <a:t>Client logo can go her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EA8922D9-1854-EA4F-A696-89605A7A84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7839" y="1274234"/>
            <a:ext cx="7599386" cy="1655762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defRPr sz="4600" b="1" cap="all" spc="-40" baseline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GB"/>
              <a:t>Click to edit title style can be two lines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2A645DF6-7040-0A49-B79D-CFCB13F45F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8835" y="3061677"/>
            <a:ext cx="7568390" cy="703495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140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a subtitle in this box; the subtitle can consist of two lines and wrap to a second line as you can see in this example</a:t>
            </a:r>
            <a:endParaRPr lang="en-US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F34BA36-1635-854D-84D4-A96F77C919F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9613" y="4249135"/>
            <a:ext cx="3786187" cy="26987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>
                  <a:lumMod val="40000"/>
                  <a:lumOff val="60000"/>
                </a:schemeClr>
              </a:buClr>
              <a:buSzPct val="110000"/>
              <a:buFont typeface="Wingdings" pitchFamily="2" charset="2"/>
              <a:buNone/>
              <a:defRPr lang="en-US" sz="1200" kern="1200" dirty="0" smtClean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[Month 00, YYYY]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D9D9A6-A04A-C748-B3C0-0826E1F49FDA}"/>
              </a:ext>
            </a:extLst>
          </p:cNvPr>
          <p:cNvSpPr txBox="1"/>
          <p:nvPr userDrawn="1"/>
        </p:nvSpPr>
        <p:spPr>
          <a:xfrm>
            <a:off x="708835" y="6332846"/>
            <a:ext cx="1602764" cy="1825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SzPct val="110000"/>
              <a:buFont typeface="Wingdings" pitchFamily="2" charset="2"/>
              <a:buNone/>
            </a:pPr>
            <a:r>
              <a:rPr lang="en-US" sz="900">
                <a:solidFill>
                  <a:schemeClr val="accent2">
                    <a:lumMod val="75000"/>
                  </a:schemeClr>
                </a:solidFill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61396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  <p15:guide id="2" orient="horz" pos="405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2D16C8A-070B-6E44-813A-9A43802407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90366FC-538C-124A-B57E-3523C37C77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7839" y="1995761"/>
            <a:ext cx="6760191" cy="1655762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600" b="1" kern="1200" cap="all" baseline="0" dirty="0">
                <a:solidFill>
                  <a:schemeClr val="accent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divider slide style</a:t>
            </a:r>
            <a:br>
              <a:rPr lang="en-GB"/>
            </a:br>
            <a:r>
              <a:rPr lang="en-GB"/>
              <a:t>Click to edit</a:t>
            </a:r>
            <a:endParaRPr lang="en-US"/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D995F7C2-B4CA-1C48-8FEA-4E4C703FD2C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6464" y="6601298"/>
            <a:ext cx="604831" cy="14759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706DA0A-D473-1D4A-A2E0-6C217D82B8E5}"/>
              </a:ext>
            </a:extLst>
          </p:cNvPr>
          <p:cNvSpPr txBox="1"/>
          <p:nvPr userDrawn="1"/>
        </p:nvSpPr>
        <p:spPr>
          <a:xfrm>
            <a:off x="11353799" y="6606061"/>
            <a:ext cx="381465" cy="165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CC437E41-2C6E-1A42-B1BE-C25975A4A367}" type="slidenum">
              <a:rPr lang="en-IN" sz="800" smtClean="0"/>
              <a:pPr algn="r"/>
              <a:t>‹#›</a:t>
            </a:fld>
            <a:endParaRPr lang="en-IN" sz="80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A94DE91-B6EC-A248-BAF6-F01BD1FC9553}"/>
              </a:ext>
            </a:extLst>
          </p:cNvPr>
          <p:cNvCxnSpPr>
            <a:cxnSpLocks/>
          </p:cNvCxnSpPr>
          <p:nvPr userDrawn="1"/>
        </p:nvCxnSpPr>
        <p:spPr>
          <a:xfrm>
            <a:off x="11425731" y="6580716"/>
            <a:ext cx="0" cy="164592"/>
          </a:xfrm>
          <a:prstGeom prst="line">
            <a:avLst/>
          </a:prstGeom>
          <a:ln>
            <a:solidFill>
              <a:schemeClr val="tx2">
                <a:alpha val="2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99726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46E23-1223-EE4D-8675-E6F9B9B273B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05802" y="1618547"/>
            <a:ext cx="10528998" cy="4222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700"/>
              </a:spcBef>
              <a:spcAft>
                <a:spcPts val="0"/>
              </a:spcAft>
              <a:buClr>
                <a:srgbClr val="2A3441">
                  <a:lumMod val="40000"/>
                  <a:lumOff val="60000"/>
                </a:srgbClr>
              </a:buClr>
              <a:buSzPct val="110000"/>
              <a:buFont typeface="Wingdings" pitchFamily="2" charset="2"/>
              <a:buChar char="§"/>
              <a:tabLst/>
              <a:defRPr lang="en-GB" sz="1400" dirty="0"/>
            </a:lvl1pPr>
            <a:lvl2pPr marL="460375" marR="0" indent="-230188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2A3441">
                  <a:lumMod val="40000"/>
                  <a:lumOff val="60000"/>
                </a:srgbClr>
              </a:buClr>
              <a:buSzTx/>
              <a:buFont typeface="Wingdings" pitchFamily="2" charset="2"/>
              <a:buChar char="§"/>
              <a:tabLst/>
              <a:defRPr lang="en-GB" sz="1200" dirty="0"/>
            </a:lvl2pPr>
            <a:lvl3pPr marL="692150" marR="0" indent="-231775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2A3441">
                  <a:lumMod val="40000"/>
                  <a:lumOff val="60000"/>
                </a:srgbClr>
              </a:buClr>
              <a:buSzTx/>
              <a:buFont typeface="Wingdings" pitchFamily="2" charset="2"/>
              <a:buChar char="§"/>
              <a:tabLst/>
              <a:defRPr lang="en-GB" sz="1100" dirty="0"/>
            </a:lvl3pPr>
            <a:lvl4pPr marL="914400" marR="0" indent="-206375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2A3441">
                  <a:lumMod val="40000"/>
                  <a:lumOff val="60000"/>
                </a:srgbClr>
              </a:buClr>
              <a:buSzTx/>
              <a:buFont typeface="Wingdings" pitchFamily="2" charset="2"/>
              <a:buChar char="§"/>
              <a:tabLst/>
              <a:defRPr lang="en-GB" sz="1050" dirty="0"/>
            </a:lvl4pPr>
            <a:lvl5pPr marL="1146175" marR="0" indent="-231775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2A3441">
                  <a:lumMod val="40000"/>
                  <a:lumOff val="60000"/>
                </a:srgbClr>
              </a:buClr>
              <a:buSzTx/>
              <a:buFont typeface="Wingdings" pitchFamily="2" charset="2"/>
              <a:buChar char="§"/>
              <a:tabLst/>
              <a:defRPr lang="en-US" sz="1000" dirty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402DC8-0DB8-0546-AA22-2330E4079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173" y="812732"/>
            <a:ext cx="1242285" cy="2032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AGENDA</a:t>
            </a:r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BADCB42C-785E-9B49-AAA4-7DC38924BEE4}"/>
              </a:ext>
            </a:extLst>
          </p:cNvPr>
          <p:cNvSpPr/>
          <p:nvPr userDrawn="1"/>
        </p:nvSpPr>
        <p:spPr>
          <a:xfrm flipH="1">
            <a:off x="-2" y="784812"/>
            <a:ext cx="1813933" cy="256032"/>
          </a:xfrm>
          <a:custGeom>
            <a:avLst/>
            <a:gdLst>
              <a:gd name="connsiteX0" fmla="*/ 0 w 7161451"/>
              <a:gd name="connsiteY0" fmla="*/ 0 h 428878"/>
              <a:gd name="connsiteX1" fmla="*/ 0 w 7161451"/>
              <a:gd name="connsiteY1" fmla="*/ 428878 h 428878"/>
              <a:gd name="connsiteX2" fmla="*/ 7161451 w 7161451"/>
              <a:gd name="connsiteY2" fmla="*/ 428878 h 428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61451" h="428878">
                <a:moveTo>
                  <a:pt x="0" y="0"/>
                </a:moveTo>
                <a:lnTo>
                  <a:pt x="0" y="428878"/>
                </a:lnTo>
                <a:lnTo>
                  <a:pt x="7161451" y="428878"/>
                </a:lnTo>
              </a:path>
            </a:pathLst>
          </a:custGeom>
          <a:noFill/>
          <a:ln w="6350" cap="flat" cmpd="sng" algn="ctr">
            <a:solidFill>
              <a:srgbClr val="A656B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0706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F532ABA-D426-194F-9838-6C956A0AEB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6464" y="6601298"/>
            <a:ext cx="604831" cy="14759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CA20056-771D-2042-8569-05C35AE2DDB5}"/>
              </a:ext>
            </a:extLst>
          </p:cNvPr>
          <p:cNvSpPr txBox="1"/>
          <p:nvPr userDrawn="1"/>
        </p:nvSpPr>
        <p:spPr>
          <a:xfrm>
            <a:off x="11353799" y="6606061"/>
            <a:ext cx="381465" cy="165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CC437E41-2C6E-1A42-B1BE-C25975A4A367}" type="slidenum">
              <a:rPr lang="en-IN" sz="800" smtClean="0"/>
              <a:pPr algn="r"/>
              <a:t>‹#›</a:t>
            </a:fld>
            <a:endParaRPr lang="en-IN" sz="80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BC8D35F-09F5-4A4C-B59A-FDBCAD90CBCF}"/>
              </a:ext>
            </a:extLst>
          </p:cNvPr>
          <p:cNvCxnSpPr>
            <a:cxnSpLocks/>
          </p:cNvCxnSpPr>
          <p:nvPr userDrawn="1"/>
        </p:nvCxnSpPr>
        <p:spPr>
          <a:xfrm>
            <a:off x="11425731" y="6580716"/>
            <a:ext cx="0" cy="164592"/>
          </a:xfrm>
          <a:prstGeom prst="line">
            <a:avLst/>
          </a:prstGeom>
          <a:ln>
            <a:solidFill>
              <a:schemeClr val="tx2">
                <a:alpha val="2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5040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10">
          <p15:clr>
            <a:srgbClr val="FBAE40"/>
          </p15:clr>
        </p15:guide>
        <p15:guide id="2" orient="horz" pos="3673">
          <p15:clr>
            <a:srgbClr val="FBAE40"/>
          </p15:clr>
        </p15:guide>
        <p15:guide id="3" pos="3840">
          <p15:clr>
            <a:srgbClr val="FBAE40"/>
          </p15:clr>
        </p15:guide>
        <p15:guide id="4" pos="74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6C33FD-CDDB-CF49-88EA-76C80302F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025" y="537123"/>
            <a:ext cx="11282240" cy="56303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running header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46E23-1223-EE4D-8675-E6F9B9B273B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3024" y="1357289"/>
            <a:ext cx="1128224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sz="1400" dirty="0"/>
            </a:lvl1pPr>
            <a:lvl2pPr>
              <a:defRPr lang="en-GB" sz="1200" dirty="0"/>
            </a:lvl2pPr>
            <a:lvl3pPr>
              <a:defRPr lang="en-GB" sz="1100" dirty="0"/>
            </a:lvl3pPr>
            <a:lvl4pPr>
              <a:defRPr lang="en-GB" sz="1050" dirty="0"/>
            </a:lvl4pPr>
            <a:lvl5pPr>
              <a:defRPr lang="en-US" sz="1000" dirty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402DC8-0DB8-0546-AA22-2330E4079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3024" y="232009"/>
            <a:ext cx="11282239" cy="2032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slide title</a:t>
            </a:r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527C708-53D8-E641-8211-110C10B128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3024" y="6374798"/>
            <a:ext cx="9681576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512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96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279">
          <p15:clr>
            <a:srgbClr val="FBAE40"/>
          </p15:clr>
        </p15:guide>
        <p15:guide id="4" orient="horz" pos="686">
          <p15:clr>
            <a:srgbClr val="FBAE40"/>
          </p15:clr>
        </p15:guide>
        <p15:guide id="5" orient="horz" pos="845">
          <p15:clr>
            <a:srgbClr val="FBAE40"/>
          </p15:clr>
        </p15:guide>
        <p15:guide id="6" orient="horz" pos="4107">
          <p15:clr>
            <a:srgbClr val="FBAE40"/>
          </p15:clr>
        </p15:guide>
        <p15:guide id="7" orient="horz" pos="3861">
          <p15:clr>
            <a:srgbClr val="FBAE40"/>
          </p15:clr>
        </p15:guide>
        <p15:guide id="8" orient="horz" pos="3598">
          <p15:clr>
            <a:srgbClr val="FBAE40"/>
          </p15:clr>
        </p15:guide>
        <p15:guide id="9" orient="horz" pos="4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6C33FD-CDDB-CF49-88EA-76C80302F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025" y="537123"/>
            <a:ext cx="11282240" cy="56303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running header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46E23-1223-EE4D-8675-E6F9B9B273B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3024" y="1357289"/>
            <a:ext cx="1128224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sz="1400" dirty="0"/>
            </a:lvl1pPr>
            <a:lvl2pPr>
              <a:defRPr lang="en-GB" sz="1200" dirty="0"/>
            </a:lvl2pPr>
            <a:lvl3pPr>
              <a:defRPr lang="en-GB" sz="1100" dirty="0"/>
            </a:lvl3pPr>
            <a:lvl4pPr>
              <a:defRPr lang="en-GB" sz="1050" dirty="0"/>
            </a:lvl4pPr>
            <a:lvl5pPr>
              <a:defRPr lang="en-US" sz="1000" dirty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402DC8-0DB8-0546-AA22-2330E4079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3024" y="232009"/>
            <a:ext cx="11282239" cy="2032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slide title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C0147A2-47CB-084F-848D-1AD8C0A4879A}"/>
              </a:ext>
            </a:extLst>
          </p:cNvPr>
          <p:cNvSpPr/>
          <p:nvPr userDrawn="1"/>
        </p:nvSpPr>
        <p:spPr>
          <a:xfrm>
            <a:off x="0" y="6344653"/>
            <a:ext cx="1732547" cy="513347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645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  <p15:guide id="2" pos="73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_N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6C33FD-CDDB-CF49-88EA-76C80302F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025" y="537123"/>
            <a:ext cx="11282240" cy="56303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running header style</a:t>
            </a: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402DC8-0DB8-0546-AA22-2330E4079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3024" y="232009"/>
            <a:ext cx="11282239" cy="2032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slide title</a:t>
            </a:r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6DBDE00C-38A8-E84E-8B74-3ED5E7F40D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3024" y="6374798"/>
            <a:ext cx="965961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814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96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279">
          <p15:clr>
            <a:srgbClr val="FBAE40"/>
          </p15:clr>
        </p15:guide>
        <p15:guide id="4" orient="horz" pos="686">
          <p15:clr>
            <a:srgbClr val="FBAE40"/>
          </p15:clr>
        </p15:guide>
        <p15:guide id="5" orient="horz" pos="845">
          <p15:clr>
            <a:srgbClr val="FBAE40"/>
          </p15:clr>
        </p15:guide>
        <p15:guide id="6" orient="horz" pos="4107">
          <p15:clr>
            <a:srgbClr val="FBAE40"/>
          </p15:clr>
        </p15:guide>
        <p15:guide id="7" orient="horz" pos="3861">
          <p15:clr>
            <a:srgbClr val="FBAE40"/>
          </p15:clr>
        </p15:guide>
        <p15:guide id="8" orient="horz" pos="3598">
          <p15:clr>
            <a:srgbClr val="FBAE40"/>
          </p15:clr>
        </p15:guide>
        <p15:guide id="9" orient="horz" pos="4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YP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74B3D00-A485-0B4C-9E39-31BA795ECF8E}"/>
              </a:ext>
            </a:extLst>
          </p:cNvPr>
          <p:cNvSpPr/>
          <p:nvPr userDrawn="1"/>
        </p:nvSpPr>
        <p:spPr>
          <a:xfrm>
            <a:off x="3288207" y="217114"/>
            <a:ext cx="8700593" cy="303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46E23-1223-EE4D-8675-E6F9B9B273B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3024" y="1357289"/>
            <a:ext cx="3026345" cy="47645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sz="1400" dirty="0"/>
            </a:lvl1pPr>
            <a:lvl2pPr>
              <a:defRPr lang="en-GB" sz="1200" dirty="0"/>
            </a:lvl2pPr>
            <a:lvl3pPr>
              <a:defRPr lang="en-GB" sz="1100" dirty="0"/>
            </a:lvl3pPr>
            <a:lvl4pPr>
              <a:defRPr lang="en-GB" sz="1050" dirty="0"/>
            </a:lvl4pPr>
            <a:lvl5pPr>
              <a:defRPr lang="en-US" sz="1000" dirty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57B9D17-DE46-8947-92FD-74EF2620B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025" y="537123"/>
            <a:ext cx="3042447" cy="56303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running header style</a:t>
            </a:r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1A5DE2D2-2D7C-4548-BB4A-8E29473B5C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3024" y="232009"/>
            <a:ext cx="2413393" cy="2032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slide title </a:t>
            </a:r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0F201493-BE50-3F4D-8E55-A53EB94E4BC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21113" y="457200"/>
            <a:ext cx="7920037" cy="56646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Visuals can go on right side of slide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6AD311A6-08AF-B246-919E-AEDFBFC1E9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3024" y="6374798"/>
            <a:ext cx="965961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542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96">
          <p15:clr>
            <a:srgbClr val="FBAE40"/>
          </p15:clr>
        </p15:guide>
        <p15:guide id="2" orient="horz" pos="288">
          <p15:clr>
            <a:srgbClr val="FBAE40"/>
          </p15:clr>
        </p15:guide>
        <p15:guide id="3" pos="279">
          <p15:clr>
            <a:srgbClr val="FBAE40"/>
          </p15:clr>
        </p15:guide>
        <p15:guide id="4" orient="horz" pos="686">
          <p15:clr>
            <a:srgbClr val="FBAE40"/>
          </p15:clr>
        </p15:guide>
        <p15:guide id="5" orient="horz" pos="845">
          <p15:clr>
            <a:srgbClr val="FBAE40"/>
          </p15:clr>
        </p15:guide>
        <p15:guide id="6" orient="horz" pos="4107">
          <p15:clr>
            <a:srgbClr val="FBAE40"/>
          </p15:clr>
        </p15:guide>
        <p15:guide id="8" orient="horz" pos="359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6C33FD-CDDB-CF49-88EA-76C80302F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025" y="537123"/>
            <a:ext cx="11282240" cy="56303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running header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46E23-1223-EE4D-8675-E6F9B9B273B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3024" y="2372139"/>
            <a:ext cx="5401676" cy="3336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sz="1400" dirty="0"/>
            </a:lvl1pPr>
            <a:lvl2pPr>
              <a:defRPr lang="en-GB" sz="1200" dirty="0"/>
            </a:lvl2pPr>
            <a:lvl3pPr>
              <a:defRPr lang="en-GB" sz="1100" dirty="0"/>
            </a:lvl3pPr>
            <a:lvl4pPr>
              <a:defRPr lang="en-GB" sz="1050" dirty="0"/>
            </a:lvl4pPr>
            <a:lvl5pPr>
              <a:defRPr lang="en-US" sz="1000" dirty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9A8DE14-241B-EC43-A4DA-FA746166130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33587" y="2372139"/>
            <a:ext cx="5401676" cy="3336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sz="1400"/>
            </a:lvl1pPr>
            <a:lvl2pPr>
              <a:defRPr lang="en-GB" sz="1200"/>
            </a:lvl2pPr>
            <a:lvl3pPr>
              <a:defRPr lang="en-GB" sz="1100"/>
            </a:lvl3pPr>
            <a:lvl4pPr>
              <a:defRPr lang="en-GB" sz="1050"/>
            </a:lvl4pPr>
            <a:lvl5pPr>
              <a:defRPr lang="en-US"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E8A0815-A091-FC43-BA48-5F1551C53D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3025" y="1341437"/>
            <a:ext cx="5401675" cy="84517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14526F7-7CE6-5C43-B428-1795E73D0E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33587" y="1341437"/>
            <a:ext cx="5401675" cy="84517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 </a:t>
            </a:r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0CCEB36A-F927-E04C-8A29-4ED24A63C2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3024" y="232009"/>
            <a:ext cx="11282239" cy="2032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slide title</a:t>
            </a:r>
            <a:endParaRPr lang="en-US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9F46773C-AC31-A04E-A0D7-847068EE37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3024" y="6374798"/>
            <a:ext cx="965961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061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86">
          <p15:clr>
            <a:srgbClr val="FBAE40"/>
          </p15:clr>
        </p15:guide>
        <p15:guide id="2" orient="horz" pos="835">
          <p15:clr>
            <a:srgbClr val="FBAE40"/>
          </p15:clr>
        </p15:guide>
        <p15:guide id="3" orient="horz" pos="3598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orient="horz" pos="4107">
          <p15:clr>
            <a:srgbClr val="FBAE40"/>
          </p15:clr>
        </p15:guide>
        <p15:guide id="6" pos="3690">
          <p15:clr>
            <a:srgbClr val="FBAE40"/>
          </p15:clr>
        </p15:guide>
        <p15:guide id="7" pos="7396">
          <p15:clr>
            <a:srgbClr val="FBAE40"/>
          </p15:clr>
        </p15:guide>
        <p15:guide id="8" pos="3976">
          <p15:clr>
            <a:srgbClr val="FBAE40"/>
          </p15:clr>
        </p15:guide>
        <p15:guide id="9" pos="279">
          <p15:clr>
            <a:srgbClr val="FBAE40"/>
          </p15:clr>
        </p15:guide>
        <p15:guide id="10" orient="horz" pos="137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653A34A-146C-D104-8296-77445EB34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507876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6" progId="TCLayout.ActiveDocument.1">
                  <p:embed/>
                </p:oleObj>
              </mc:Choice>
              <mc:Fallback>
                <p:oleObj name="think-cell Slide" r:id="rId22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653A34A-146C-D104-8296-77445EB34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77377D-0267-7048-BDED-420139F0FA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3024" y="6374798"/>
            <a:ext cx="9659618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185E675-9A9F-C44A-9393-400F5490D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025" y="535019"/>
            <a:ext cx="11282240" cy="5630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running header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FE5B75-1999-134B-B5AB-A9402C2901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3024" y="1357289"/>
            <a:ext cx="1128224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5A4B7F1-CF81-7B45-80F2-3E4606BFACAD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6464" y="6601298"/>
            <a:ext cx="604831" cy="147591"/>
          </a:xfrm>
          <a:prstGeom prst="rect">
            <a:avLst/>
          </a:prstGeom>
        </p:spPr>
      </p:pic>
      <p:sp>
        <p:nvSpPr>
          <p:cNvPr id="12" name="Freeform 11">
            <a:extLst>
              <a:ext uri="{FF2B5EF4-FFF2-40B4-BE49-F238E27FC236}">
                <a16:creationId xmlns:a16="http://schemas.microsoft.com/office/drawing/2014/main" id="{0F7812E9-24E1-4543-9F6B-5D081FA4EC8E}"/>
              </a:ext>
            </a:extLst>
          </p:cNvPr>
          <p:cNvSpPr/>
          <p:nvPr userDrawn="1"/>
        </p:nvSpPr>
        <p:spPr>
          <a:xfrm>
            <a:off x="385176" y="208586"/>
            <a:ext cx="11421648" cy="256032"/>
          </a:xfrm>
          <a:custGeom>
            <a:avLst/>
            <a:gdLst>
              <a:gd name="connsiteX0" fmla="*/ 0 w 7161451"/>
              <a:gd name="connsiteY0" fmla="*/ 0 h 428878"/>
              <a:gd name="connsiteX1" fmla="*/ 0 w 7161451"/>
              <a:gd name="connsiteY1" fmla="*/ 428878 h 428878"/>
              <a:gd name="connsiteX2" fmla="*/ 7161451 w 7161451"/>
              <a:gd name="connsiteY2" fmla="*/ 428878 h 428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61451" h="428878">
                <a:moveTo>
                  <a:pt x="0" y="0"/>
                </a:moveTo>
                <a:lnTo>
                  <a:pt x="0" y="428878"/>
                </a:lnTo>
                <a:lnTo>
                  <a:pt x="7161451" y="428878"/>
                </a:lnTo>
              </a:path>
            </a:pathLst>
          </a:custGeom>
          <a:noFill/>
          <a:ln w="6350" cap="flat" cmpd="sng" algn="ctr">
            <a:solidFill>
              <a:srgbClr val="A656B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0706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04D070-F94D-BB47-87B2-D538A43EB84C}"/>
              </a:ext>
            </a:extLst>
          </p:cNvPr>
          <p:cNvSpPr txBox="1"/>
          <p:nvPr userDrawn="1"/>
        </p:nvSpPr>
        <p:spPr>
          <a:xfrm>
            <a:off x="11353799" y="6606061"/>
            <a:ext cx="381465" cy="165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CC437E41-2C6E-1A42-B1BE-C25975A4A367}" type="slidenum">
              <a:rPr lang="en-IN" sz="800" smtClean="0"/>
              <a:pPr algn="r"/>
              <a:t>‹#›</a:t>
            </a:fld>
            <a:endParaRPr lang="en-IN" sz="8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26154D-C7A8-C245-A16F-84DEDC9F4217}"/>
              </a:ext>
            </a:extLst>
          </p:cNvPr>
          <p:cNvCxnSpPr>
            <a:cxnSpLocks/>
          </p:cNvCxnSpPr>
          <p:nvPr userDrawn="1"/>
        </p:nvCxnSpPr>
        <p:spPr>
          <a:xfrm>
            <a:off x="11425731" y="6580716"/>
            <a:ext cx="0" cy="164592"/>
          </a:xfrm>
          <a:prstGeom prst="line">
            <a:avLst/>
          </a:prstGeom>
          <a:ln>
            <a:solidFill>
              <a:schemeClr val="tx2">
                <a:alpha val="2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7779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1">
            <a:lumMod val="40000"/>
            <a:lumOff val="60000"/>
          </a:schemeClr>
        </a:buClr>
        <a:buSzPct val="11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60375" indent="-230188" algn="l" defTabSz="914400" rtl="0" eaLnBrk="1" latinLnBrk="0" hangingPunct="1">
        <a:lnSpc>
          <a:spcPct val="100000"/>
        </a:lnSpc>
        <a:spcBef>
          <a:spcPts val="700"/>
        </a:spcBef>
        <a:buClr>
          <a:schemeClr val="tx1">
            <a:lumMod val="40000"/>
            <a:lumOff val="60000"/>
          </a:schemeClr>
        </a:buClr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2150" indent="-231775" algn="l" defTabSz="914400" rtl="0" eaLnBrk="1" latinLnBrk="0" hangingPunct="1">
        <a:lnSpc>
          <a:spcPct val="100000"/>
        </a:lnSpc>
        <a:spcBef>
          <a:spcPts val="700"/>
        </a:spcBef>
        <a:buClr>
          <a:schemeClr val="tx1">
            <a:lumMod val="40000"/>
            <a:lumOff val="60000"/>
          </a:schemeClr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06375" algn="l" defTabSz="914400" rtl="0" eaLnBrk="1" latinLnBrk="0" hangingPunct="1">
        <a:lnSpc>
          <a:spcPct val="100000"/>
        </a:lnSpc>
        <a:spcBef>
          <a:spcPts val="700"/>
        </a:spcBef>
        <a:buClr>
          <a:schemeClr val="tx1">
            <a:lumMod val="40000"/>
            <a:lumOff val="60000"/>
          </a:schemeClr>
        </a:buClr>
        <a:buFont typeface="Wingdings" pitchFamily="2" charset="2"/>
        <a:buChar char="§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1775" algn="l" defTabSz="914400" rtl="0" eaLnBrk="1" latinLnBrk="0" hangingPunct="1">
        <a:lnSpc>
          <a:spcPct val="100000"/>
        </a:lnSpc>
        <a:spcBef>
          <a:spcPts val="700"/>
        </a:spcBef>
        <a:buClr>
          <a:schemeClr val="tx1">
            <a:lumMod val="40000"/>
            <a:lumOff val="60000"/>
          </a:schemeClr>
        </a:buClr>
        <a:buFont typeface="Wingdings" pitchFamily="2" charset="2"/>
        <a:buChar char="§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80">
          <p15:clr>
            <a:srgbClr val="F26B43"/>
          </p15:clr>
        </p15:guide>
        <p15:guide id="4" orient="horz" pos="4224">
          <p15:clr>
            <a:srgbClr val="F26B43"/>
          </p15:clr>
        </p15:guide>
        <p15:guide id="6" pos="288">
          <p15:clr>
            <a:srgbClr val="F26B43"/>
          </p15:clr>
        </p15:guide>
        <p15:guide id="7" pos="7392">
          <p15:clr>
            <a:srgbClr val="F26B43"/>
          </p15:clr>
        </p15:guide>
        <p15:guide id="8" orient="horz" pos="3984">
          <p15:clr>
            <a:srgbClr val="F26B43"/>
          </p15:clr>
        </p15:guide>
        <p15:guide id="9" pos="63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B12D2C-1B0E-5745-6866-0AF561B66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1B467C-3232-F797-0160-58F29C2E6D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b="1">
                <a:solidFill>
                  <a:schemeClr val="accent1"/>
                </a:solidFill>
              </a:rPr>
              <a:t>Clinical data 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989D5C-FE2B-AB3C-AE64-D6744B6F0C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57D99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plan-Meier (KM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657D99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0329C85-700F-F622-6C23-959F3550DE8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725" t="28132" r="20157" b="13067"/>
          <a:stretch/>
        </p:blipFill>
        <p:spPr>
          <a:xfrm>
            <a:off x="6138333" y="2736690"/>
            <a:ext cx="5062878" cy="288124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7895D7D-9CF6-F1AB-6626-8834447771F4}"/>
              </a:ext>
            </a:extLst>
          </p:cNvPr>
          <p:cNvSpPr txBox="1"/>
          <p:nvPr/>
        </p:nvSpPr>
        <p:spPr>
          <a:xfrm>
            <a:off x="6328833" y="1996149"/>
            <a:ext cx="50628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A34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mb Events Prevented for 1,000 Patients Treated for 3 Years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A34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A34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No Recent MI, No Stroke/TIA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E7A9CC-5796-DADA-3942-5D0DC7A2594B}"/>
              </a:ext>
            </a:extLst>
          </p:cNvPr>
          <p:cNvSpPr txBox="1"/>
          <p:nvPr/>
        </p:nvSpPr>
        <p:spPr>
          <a:xfrm>
            <a:off x="476169" y="1996149"/>
            <a:ext cx="52822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A34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mb vascular events in patients with known PAD or ABI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A34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A34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Ankle-brachial index) ≤0.90 (Blockage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CE0DF5-EA65-01B0-2999-9990FE98DF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169" y="2793629"/>
            <a:ext cx="5392688" cy="287228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9F63707-FD50-4059-9FFE-5FC102761524}"/>
              </a:ext>
            </a:extLst>
          </p:cNvPr>
          <p:cNvSpPr txBox="1"/>
          <p:nvPr/>
        </p:nvSpPr>
        <p:spPr>
          <a:xfrm>
            <a:off x="7772121" y="2565029"/>
            <a:ext cx="2632914" cy="2286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2A3441">
                  <a:lumMod val="40000"/>
                  <a:lumOff val="60000"/>
                </a:srgbClr>
              </a:buClr>
              <a:buSzPct val="110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2A344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figures below are specific to Flovasc</a:t>
            </a:r>
          </a:p>
        </p:txBody>
      </p:sp>
    </p:spTree>
    <p:extLst>
      <p:ext uri="{BB962C8B-B14F-4D97-AF65-F5344CB8AC3E}">
        <p14:creationId xmlns:p14="http://schemas.microsoft.com/office/powerpoint/2010/main" val="3078269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RAL THEME">
  <a:themeElements>
    <a:clrScheme name="Qral New template">
      <a:dk1>
        <a:srgbClr val="2A3441"/>
      </a:dk1>
      <a:lt1>
        <a:srgbClr val="FFFFFF"/>
      </a:lt1>
      <a:dk2>
        <a:srgbClr val="562157"/>
      </a:dk2>
      <a:lt2>
        <a:srgbClr val="D7D7D9"/>
      </a:lt2>
      <a:accent1>
        <a:srgbClr val="A556BE"/>
      </a:accent1>
      <a:accent2>
        <a:srgbClr val="657D99"/>
      </a:accent2>
      <a:accent3>
        <a:srgbClr val="DF5745"/>
      </a:accent3>
      <a:accent4>
        <a:srgbClr val="E6A43D"/>
      </a:accent4>
      <a:accent5>
        <a:srgbClr val="00979B"/>
      </a:accent5>
      <a:accent6>
        <a:srgbClr val="4D71B6"/>
      </a:accent6>
      <a:hlink>
        <a:srgbClr val="A656BF"/>
      </a:hlink>
      <a:folHlink>
        <a:srgbClr val="222A3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>
        <a:noAutofit/>
      </a:bodyPr>
      <a:lstStyle>
        <a:defPPr marL="228600" indent="-228600" algn="l">
          <a:lnSpc>
            <a:spcPct val="110000"/>
          </a:lnSpc>
          <a:spcBef>
            <a:spcPts val="1000"/>
          </a:spcBef>
          <a:buClr>
            <a:schemeClr val="tx1">
              <a:lumMod val="40000"/>
              <a:lumOff val="60000"/>
            </a:schemeClr>
          </a:buClr>
          <a:buSzPct val="110000"/>
          <a:buFont typeface="Wingdings" pitchFamily="2" charset="2"/>
          <a:buChar char="§"/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10517_qral_PPT_template" id="{21B3FCC3-AEE1-4B13-9E39-2575154DEA6F}" vid="{CC9FC2F8-DA5C-4E8A-9039-BF2C7AECCD7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5</Words>
  <Application>Microsoft Office PowerPoint</Application>
  <PresentationFormat>宽屏</PresentationFormat>
  <Paragraphs>6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6" baseType="lpstr">
      <vt:lpstr>Arial</vt:lpstr>
      <vt:lpstr>Segoe UI Semibold</vt:lpstr>
      <vt:lpstr>Wingdings</vt:lpstr>
      <vt:lpstr>QRAL THEME</vt:lpstr>
      <vt:lpstr>think-cell Slide</vt:lpstr>
      <vt:lpstr>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rlG HT</dc:creator>
  <cp:lastModifiedBy>CarlG HT</cp:lastModifiedBy>
  <cp:revision>1</cp:revision>
  <dcterms:created xsi:type="dcterms:W3CDTF">2024-07-06T02:54:44Z</dcterms:created>
  <dcterms:modified xsi:type="dcterms:W3CDTF">2024-07-06T02:55:26Z</dcterms:modified>
</cp:coreProperties>
</file>